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90" r:id="rId1"/>
  </p:sldMasterIdLst>
  <p:notesMasterIdLst>
    <p:notesMasterId r:id="rId13"/>
  </p:notesMasterIdLst>
  <p:sldIdLst>
    <p:sldId id="258" r:id="rId2"/>
    <p:sldId id="259" r:id="rId3"/>
    <p:sldId id="260" r:id="rId4"/>
    <p:sldId id="261" r:id="rId5"/>
    <p:sldId id="262" r:id="rId6"/>
    <p:sldId id="269" r:id="rId7"/>
    <p:sldId id="270" r:id="rId8"/>
    <p:sldId id="264" r:id="rId9"/>
    <p:sldId id="263" r:id="rId10"/>
    <p:sldId id="265" r:id="rId11"/>
    <p:sldId id="266" r:id="rId12"/>
  </p:sldIdLst>
  <p:sldSz cx="18288000" cy="10287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Consolas" panose="020B0609020204030204" pitchFamily="49" charset="0"/>
      <p:regular r:id="rId18"/>
      <p:bold r:id="rId19"/>
      <p:italic r:id="rId20"/>
      <p:boldItalic r:id="rId21"/>
    </p:embeddedFont>
    <p:embeddedFont>
      <p:font typeface="Raleway" pitchFamily="2" charset="0"/>
      <p:regular r:id="rId22"/>
      <p:bold r:id="rId23"/>
      <p:italic r:id="rId24"/>
      <p:boldItalic r:id="rId25"/>
    </p:embeddedFont>
    <p:embeddedFont>
      <p:font typeface="Roboto Light" panose="02000000000000000000" pitchFamily="2" charset="0"/>
      <p:regular r:id="rId26"/>
      <p:bold r:id="rId27"/>
      <p:italic r:id="rId28"/>
      <p:boldItalic r:id="rId29"/>
    </p:embeddedFont>
    <p:embeddedFont>
      <p:font typeface="Trebuchet MS" panose="020B0603020202020204" pitchFamily="34" charset="0"/>
      <p:regular r:id="rId30"/>
      <p:bold r:id="rId31"/>
      <p:italic r:id="rId32"/>
      <p:boldItalic r:id="rId33"/>
    </p:embeddedFont>
    <p:embeddedFont>
      <p:font typeface="Wingdings 3" panose="05040102010807070707" pitchFamily="18" charset="2"/>
      <p:regular r:id="rId34"/>
    </p:embeddedFont>
  </p:embeddedFontLst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57" autoAdjust="0"/>
    <p:restoredTop sz="94789"/>
  </p:normalViewPr>
  <p:slideViewPr>
    <p:cSldViewPr snapToGrid="0">
      <p:cViewPr varScale="1">
        <p:scale>
          <a:sx n="72" d="100"/>
          <a:sy n="72" d="100"/>
        </p:scale>
        <p:origin x="810" y="72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9" Type="http://schemas.openxmlformats.org/officeDocument/2006/relationships/tableStyles" Target="tableStyles.xml"/><Relationship Id="rId21" Type="http://schemas.openxmlformats.org/officeDocument/2006/relationships/font" Target="fonts/font8.fntdata"/><Relationship Id="rId34" Type="http://schemas.openxmlformats.org/officeDocument/2006/relationships/font" Target="fonts/font21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font" Target="fonts/font20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32" Type="http://schemas.openxmlformats.org/officeDocument/2006/relationships/font" Target="fonts/font19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12700"/>
            <a:ext cx="18288000" cy="10299701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0601" y="3606801"/>
            <a:ext cx="11650404" cy="2469453"/>
          </a:xfrm>
        </p:spPr>
        <p:txBody>
          <a:bodyPr anchor="b">
            <a:noAutofit/>
          </a:bodyPr>
          <a:lstStyle>
            <a:lvl1pPr algn="r">
              <a:defRPr sz="8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0601" y="6076250"/>
            <a:ext cx="11650404" cy="164534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2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1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00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0220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3" y="914400"/>
            <a:ext cx="12895002" cy="5105400"/>
          </a:xfrm>
        </p:spPr>
        <p:txBody>
          <a:bodyPr anchor="ctr">
            <a:normAutofit/>
          </a:bodyPr>
          <a:lstStyle>
            <a:lvl1pPr algn="l">
              <a:defRPr sz="66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3" y="6705600"/>
            <a:ext cx="12895002" cy="2356443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71982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7001" y="914400"/>
            <a:ext cx="12141201" cy="4533900"/>
          </a:xfrm>
        </p:spPr>
        <p:txBody>
          <a:bodyPr anchor="ctr">
            <a:normAutofit/>
          </a:bodyPr>
          <a:lstStyle>
            <a:lvl1pPr algn="l">
              <a:defRPr sz="66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049209" y="5448300"/>
            <a:ext cx="10836786" cy="5715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85800" indent="0">
              <a:buFontTx/>
              <a:buNone/>
              <a:defRPr/>
            </a:lvl2pPr>
            <a:lvl3pPr marL="1371600" indent="0">
              <a:buFontTx/>
              <a:buNone/>
              <a:defRPr/>
            </a:lvl3pPr>
            <a:lvl4pPr marL="2057400" indent="0">
              <a:buFontTx/>
              <a:buNone/>
              <a:defRPr/>
            </a:lvl4pPr>
            <a:lvl5pPr marL="27432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3" y="6705600"/>
            <a:ext cx="12895002" cy="2356443"/>
          </a:xfrm>
        </p:spPr>
        <p:txBody>
          <a:bodyPr anchor="ctr">
            <a:normAutofit/>
          </a:bodyPr>
          <a:lstStyle>
            <a:lvl1pPr marL="0" indent="0" algn="l">
              <a:buNone/>
              <a:defRPr sz="2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812805" y="1185567"/>
            <a:ext cx="914400" cy="877164"/>
          </a:xfrm>
          <a:prstGeom prst="rect">
            <a:avLst/>
          </a:prstGeom>
        </p:spPr>
        <p:txBody>
          <a:bodyPr vert="horz" lIns="137160" tIns="68580" rIns="137160" bIns="68580" rtlCol="0" anchor="ctr">
            <a:noAutofit/>
          </a:bodyPr>
          <a:lstStyle/>
          <a:p>
            <a:pPr lvl="0"/>
            <a:r>
              <a:rPr lang="en-US" sz="12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3339517" y="4329834"/>
            <a:ext cx="914400" cy="877164"/>
          </a:xfrm>
          <a:prstGeom prst="rect">
            <a:avLst/>
          </a:prstGeom>
        </p:spPr>
        <p:txBody>
          <a:bodyPr vert="horz" lIns="137160" tIns="68580" rIns="137160" bIns="68580" rtlCol="0" anchor="ctr">
            <a:noAutofit/>
          </a:bodyPr>
          <a:lstStyle/>
          <a:p>
            <a:pPr lvl="0"/>
            <a:r>
              <a:rPr lang="en-US" sz="12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sz="2700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910981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3" y="2897982"/>
            <a:ext cx="12895002" cy="3893190"/>
          </a:xfrm>
        </p:spPr>
        <p:txBody>
          <a:bodyPr anchor="b">
            <a:normAutofit/>
          </a:bodyPr>
          <a:lstStyle>
            <a:lvl1pPr algn="l">
              <a:defRPr sz="66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3" y="6791172"/>
            <a:ext cx="12895002" cy="2270871"/>
          </a:xfrm>
        </p:spPr>
        <p:txBody>
          <a:bodyPr anchor="t">
            <a:normAutofit/>
          </a:bodyPr>
          <a:lstStyle>
            <a:lvl1pPr marL="0" indent="0" algn="l">
              <a:buNone/>
              <a:defRPr sz="2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83837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7001" y="914400"/>
            <a:ext cx="12141201" cy="4533900"/>
          </a:xfrm>
        </p:spPr>
        <p:txBody>
          <a:bodyPr anchor="ctr">
            <a:normAutofit/>
          </a:bodyPr>
          <a:lstStyle>
            <a:lvl1pPr algn="l">
              <a:defRPr sz="66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15999" y="6019800"/>
            <a:ext cx="12895004" cy="771372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85800" indent="0">
              <a:buFontTx/>
              <a:buNone/>
              <a:defRPr/>
            </a:lvl2pPr>
            <a:lvl3pPr marL="1371600" indent="0">
              <a:buFontTx/>
              <a:buNone/>
              <a:defRPr/>
            </a:lvl3pPr>
            <a:lvl4pPr marL="2057400" indent="0">
              <a:buFontTx/>
              <a:buNone/>
              <a:defRPr/>
            </a:lvl4pPr>
            <a:lvl5pPr marL="27432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3" y="6791172"/>
            <a:ext cx="12895002" cy="2270871"/>
          </a:xfrm>
        </p:spPr>
        <p:txBody>
          <a:bodyPr anchor="t">
            <a:normAutofit/>
          </a:bodyPr>
          <a:lstStyle>
            <a:lvl1pPr marL="0" indent="0" algn="l">
              <a:buNone/>
              <a:defRPr sz="2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812805" y="1185567"/>
            <a:ext cx="914400" cy="877164"/>
          </a:xfrm>
          <a:prstGeom prst="rect">
            <a:avLst/>
          </a:prstGeom>
        </p:spPr>
        <p:txBody>
          <a:bodyPr vert="horz" lIns="137160" tIns="68580" rIns="137160" bIns="68580" rtlCol="0" anchor="ctr">
            <a:noAutofit/>
          </a:bodyPr>
          <a:lstStyle/>
          <a:p>
            <a:pPr lvl="0"/>
            <a:r>
              <a:rPr lang="en-US" sz="12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3339517" y="4329834"/>
            <a:ext cx="914400" cy="877164"/>
          </a:xfrm>
          <a:prstGeom prst="rect">
            <a:avLst/>
          </a:prstGeom>
        </p:spPr>
        <p:txBody>
          <a:bodyPr vert="horz" lIns="137160" tIns="68580" rIns="137160" bIns="68580" rtlCol="0" anchor="ctr">
            <a:noAutofit/>
          </a:bodyPr>
          <a:lstStyle/>
          <a:p>
            <a:pPr lvl="0"/>
            <a:r>
              <a:rPr lang="en-US" sz="12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74230390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699" y="914400"/>
            <a:ext cx="12882305" cy="4533900"/>
          </a:xfrm>
        </p:spPr>
        <p:txBody>
          <a:bodyPr anchor="ctr">
            <a:normAutofit/>
          </a:bodyPr>
          <a:lstStyle>
            <a:lvl1pPr algn="l">
              <a:defRPr sz="66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15999" y="6019800"/>
            <a:ext cx="12895004" cy="771372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3600">
                <a:solidFill>
                  <a:schemeClr val="accent1"/>
                </a:solidFill>
              </a:defRPr>
            </a:lvl1pPr>
            <a:lvl2pPr marL="685800" indent="0">
              <a:buFontTx/>
              <a:buNone/>
              <a:defRPr/>
            </a:lvl2pPr>
            <a:lvl3pPr marL="1371600" indent="0">
              <a:buFontTx/>
              <a:buNone/>
              <a:defRPr/>
            </a:lvl3pPr>
            <a:lvl4pPr marL="2057400" indent="0">
              <a:buFontTx/>
              <a:buNone/>
              <a:defRPr/>
            </a:lvl4pPr>
            <a:lvl5pPr marL="27432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3" y="6791172"/>
            <a:ext cx="12895002" cy="2270871"/>
          </a:xfrm>
        </p:spPr>
        <p:txBody>
          <a:bodyPr anchor="t">
            <a:normAutofit/>
          </a:bodyPr>
          <a:lstStyle>
            <a:lvl1pPr marL="0" indent="0" algn="l">
              <a:buNone/>
              <a:defRPr sz="2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738758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9C37B-1D36-470B-8223-D6C91242EC14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774182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951510" y="914399"/>
            <a:ext cx="1957115" cy="787717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16003" y="914400"/>
            <a:ext cx="10590225" cy="78771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6F52A-A82B-47A2-A83A-8C4C91F2D59F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23848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userDrawn="1">
  <p:cSld name="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97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54407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197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52884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99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61226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A7B3-6521-4DCA-87E5-044747A908C1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288915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3" y="4051301"/>
            <a:ext cx="12895002" cy="2739872"/>
          </a:xfrm>
        </p:spPr>
        <p:txBody>
          <a:bodyPr anchor="b"/>
          <a:lstStyle>
            <a:lvl1pPr algn="l">
              <a:defRPr sz="6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3" y="6791172"/>
            <a:ext cx="12895002" cy="1290600"/>
          </a:xfrm>
        </p:spPr>
        <p:txBody>
          <a:bodyPr anchor="t"/>
          <a:lstStyle>
            <a:lvl1pPr marL="0" indent="0" algn="l">
              <a:buNone/>
              <a:defRPr sz="3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593892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6002" y="3240884"/>
            <a:ext cx="6276053" cy="58211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34955" y="3240884"/>
            <a:ext cx="6276051" cy="582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134690-1557-4C89-A502-4959FE7FAD70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3426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3618" y="3241475"/>
            <a:ext cx="6278435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3618" y="4105868"/>
            <a:ext cx="6278435" cy="495617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32575" y="3241475"/>
            <a:ext cx="6278427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32577" y="4105868"/>
            <a:ext cx="6278426" cy="495617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32753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1" y="914400"/>
            <a:ext cx="12895002" cy="198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7C31-9E7A-4F99-8774-A0E530DE1A42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822028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504F-A551-4DE0-9316-4DCD1D8CC752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398624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1" y="2247906"/>
            <a:ext cx="5781792" cy="1917699"/>
          </a:xfrm>
        </p:spPr>
        <p:txBody>
          <a:bodyPr anchor="b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0692" y="772387"/>
            <a:ext cx="6770312" cy="828965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16001" y="4165604"/>
            <a:ext cx="5781792" cy="3876674"/>
          </a:xfrm>
        </p:spPr>
        <p:txBody>
          <a:bodyPr>
            <a:normAutofit/>
          </a:bodyPr>
          <a:lstStyle>
            <a:lvl1pPr marL="0" indent="0">
              <a:buNone/>
              <a:defRPr sz="2100"/>
            </a:lvl1pPr>
            <a:lvl2pPr marL="685595" indent="0">
              <a:buNone/>
              <a:defRPr sz="2100"/>
            </a:lvl2pPr>
            <a:lvl3pPr marL="1371189" indent="0">
              <a:buNone/>
              <a:defRPr sz="1800"/>
            </a:lvl3pPr>
            <a:lvl4pPr marL="2056784" indent="0">
              <a:buNone/>
              <a:defRPr sz="1500"/>
            </a:lvl4pPr>
            <a:lvl5pPr marL="2742377" indent="0">
              <a:buNone/>
              <a:defRPr sz="1500"/>
            </a:lvl5pPr>
            <a:lvl6pPr marL="3427971" indent="0">
              <a:buNone/>
              <a:defRPr sz="1500"/>
            </a:lvl6pPr>
            <a:lvl7pPr marL="4113566" indent="0">
              <a:buNone/>
              <a:defRPr sz="1500"/>
            </a:lvl7pPr>
            <a:lvl8pPr marL="4799160" indent="0">
              <a:buNone/>
              <a:defRPr sz="1500"/>
            </a:lvl8pPr>
            <a:lvl9pPr marL="5484755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4249-C0D0-4B06-8692-E8BB871AF643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271153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2" y="7200900"/>
            <a:ext cx="12895001" cy="85010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16001" y="914400"/>
            <a:ext cx="12895002" cy="5768577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16002" y="8051007"/>
            <a:ext cx="12895001" cy="1011036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B0DB6-F5C7-45FB-8CF3-31B45F9C2DA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407421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12700"/>
            <a:ext cx="18288000" cy="1029970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6001" y="914400"/>
            <a:ext cx="12895002" cy="19812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1" y="3240884"/>
            <a:ext cx="12895002" cy="58211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807700" y="9062044"/>
            <a:ext cx="1367909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60EA64-D806-43AC-9DF2-F8C432F32B4C}" type="datetimeFigureOut">
              <a:rPr lang="en-US" smtClean="0"/>
              <a:t>10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16001" y="9062044"/>
            <a:ext cx="9446418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85995" y="9062044"/>
            <a:ext cx="1025009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0">
                <a:solidFill>
                  <a:schemeClr val="accent1"/>
                </a:solidFill>
              </a:defRPr>
            </a:lvl1pPr>
          </a:lstStyle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841D7B8-285D-4691-A7C8-A11D327F3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0804C8-2526-4C94-808B-B1B085708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90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670" r:id="rId20"/>
    <p:sldLayoutId id="2147483671" r:id="rId21"/>
    <p:sldLayoutId id="2147483673" r:id="rId22"/>
    <p:sldLayoutId id="2147483666" r:id="rId23"/>
    <p:sldLayoutId id="2147483662" r:id="rId24"/>
    <p:sldLayoutId id="2147483664" r:id="rId25"/>
    <p:sldLayoutId id="2147483657" r:id="rId26"/>
    <p:sldLayoutId id="2147483665" r:id="rId27"/>
    <p:sldLayoutId id="2147483674" r:id="rId28"/>
    <p:sldLayoutId id="2147483658" r:id="rId29"/>
    <p:sldLayoutId id="2147483655" r:id="rId30"/>
    <p:sldLayoutId id="2147483659" r:id="rId31"/>
    <p:sldLayoutId id="2147483656" r:id="rId32"/>
    <p:sldLayoutId id="2147483668" r:id="rId33"/>
    <p:sldLayoutId id="2147483669" r:id="rId34"/>
    <p:sldLayoutId id="2147483672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spcBef>
          <a:spcPct val="0"/>
        </a:spcBef>
        <a:buNone/>
        <a:defRPr sz="54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514350" indent="-51435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114425" indent="-428625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7145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24003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30861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37719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44577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51435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58293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55" userDrawn="1">
          <p15:clr>
            <a:srgbClr val="E46962"/>
          </p15:clr>
        </p15:guide>
        <p15:guide id="2" pos="7710" userDrawn="1">
          <p15:clr>
            <a:srgbClr val="E46962"/>
          </p15:clr>
        </p15:guide>
        <p15:guide id="3" orient="horz" pos="2160" userDrawn="1">
          <p15:clr>
            <a:srgbClr val="E46962"/>
          </p15:clr>
        </p15:guide>
        <p15:guide id="4" orient="horz" pos="4310" userDrawn="1">
          <p15:clr>
            <a:srgbClr val="E46962"/>
          </p15:clr>
        </p15:guide>
        <p15:guide id="5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Calibri"/>
              </a:defRPr>
            </a:pPr>
            <a:r>
              <a:t>Entity and JPA Annotations Overview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910060" y="2836150"/>
            <a:ext cx="11310225" cy="4442792"/>
          </a:xfrm>
        </p:spPr>
        <p:txBody>
          <a:bodyPr>
            <a:normAutofit fontScale="925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Java Persistence API (JPA) provides ORM mapping for Java applications.</a:t>
            </a:r>
          </a:p>
          <a:p>
            <a:pPr>
              <a:defRPr sz="3600">
                <a:latin typeface="Calibri"/>
              </a:defRPr>
            </a:pPr>
            <a:endParaRPr lang="en-US" dirty="0">
              <a:latin typeface="Consolas" panose="020B0609020204030204" pitchFamily="49" charset="0"/>
            </a:endParaRP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The @Entity annotation maps a class to a database table.</a:t>
            </a:r>
            <a:endParaRPr lang="en-US" dirty="0">
              <a:latin typeface="Consolas" panose="020B0609020204030204" pitchFamily="49" charset="0"/>
            </a:endParaRPr>
          </a:p>
          <a:p>
            <a:pPr>
              <a:defRPr sz="3600">
                <a:latin typeface="Calibri"/>
              </a:defRPr>
            </a:pPr>
            <a:endParaRPr lang="en-US" b="0" i="0" dirty="0">
              <a:solidFill>
                <a:srgbClr val="242424"/>
              </a:solidFill>
              <a:effectLst/>
              <a:latin typeface="Consolas" panose="020B0609020204030204" pitchFamily="49" charset="0"/>
            </a:endParaRPr>
          </a:p>
          <a:p>
            <a:pPr>
              <a:defRPr sz="3600">
                <a:latin typeface="Calibri"/>
              </a:defRPr>
            </a:pPr>
            <a:r>
              <a:rPr lang="en-US" b="0" i="0" dirty="0">
                <a:solidFill>
                  <a:srgbClr val="242424"/>
                </a:solidFill>
                <a:effectLst/>
                <a:latin typeface="Consolas" panose="020B0609020204030204" pitchFamily="49" charset="0"/>
              </a:rPr>
              <a:t>JPA provides a standard for object-relational mapping (ORM) in Java applications, and this annotation specifies that a class will be mapped to a database table.</a:t>
            </a:r>
            <a:endParaRPr dirty="0">
              <a:latin typeface="Consolas" panose="020B0609020204030204" pitchFamily="49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5666" y="1636067"/>
            <a:ext cx="9053013" cy="1305916"/>
          </a:xfrm>
        </p:spPr>
        <p:txBody>
          <a:bodyPr>
            <a:normAutofit fontScale="700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Indicates fields not persisted in the database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Used for temporary data or non-persistent field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0137" y="664753"/>
            <a:ext cx="7529186" cy="1465542"/>
          </a:xfrm>
        </p:spPr>
        <p:txBody>
          <a:bodyPr/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Transient Annot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057AB7-7BB1-41AF-B4E9-F4A665CA0A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261" y="3913297"/>
            <a:ext cx="12274289" cy="2572849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81202" y="1866399"/>
            <a:ext cx="8205046" cy="1208106"/>
          </a:xfrm>
        </p:spPr>
        <p:txBody>
          <a:bodyPr>
            <a:normAutofit fontScale="700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Maps large data objects like BLOBs and CLOBs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Used for storing large text or binary data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55914" y="859043"/>
            <a:ext cx="7489429" cy="1444675"/>
          </a:xfrm>
        </p:spPr>
        <p:txBody>
          <a:bodyPr/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Lob Annot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C3B6C51-106F-4C07-940E-C021C5F2FB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6824" y="4795696"/>
            <a:ext cx="11935632" cy="226809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6190" y="1822240"/>
            <a:ext cx="8552415" cy="2484718"/>
          </a:xfrm>
        </p:spPr>
        <p:txBody>
          <a:bodyPr>
            <a:normAutofit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Entity marks a class as a JPA entity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Maps the class to a database tabl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58919" y="700018"/>
            <a:ext cx="7529186" cy="1022765"/>
          </a:xfrm>
        </p:spPr>
        <p:txBody>
          <a:bodyPr/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Entity Annota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3E6287-7434-4AFF-8647-ED5F1E6568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5455" y="4691866"/>
            <a:ext cx="10026805" cy="417383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98104" y="2054087"/>
            <a:ext cx="9892748" cy="1709529"/>
          </a:xfrm>
        </p:spPr>
        <p:txBody>
          <a:bodyPr>
            <a:normAutofit fontScale="850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Specifies the table associated with a JPA entity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Useful when class name differs from table name or schema is custom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06556" y="1031322"/>
            <a:ext cx="7489429" cy="1022765"/>
          </a:xfrm>
        </p:spPr>
        <p:txBody>
          <a:bodyPr/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Table Annot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08D05F4-3329-4AC9-8D2E-9B16CB0152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556" y="5526158"/>
            <a:ext cx="11932394" cy="2788097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02779" y="2196556"/>
            <a:ext cx="9835064" cy="1712836"/>
          </a:xfrm>
        </p:spPr>
        <p:txBody>
          <a:bodyPr>
            <a:normAutofit fontScale="775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Id marks a field as the primary key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GeneratedValue auto-generates primary key values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Strategies: AUTO, IDENTITY, SEQUENCE, TABL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66155" y="505725"/>
            <a:ext cx="7529186" cy="1465542"/>
          </a:xfrm>
        </p:spPr>
        <p:txBody>
          <a:bodyPr>
            <a:normAutofit fontScale="90000"/>
          </a:bodyPr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Id and @GeneratedValue Annotation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C8F686F-9BA1-4907-A37A-43F9C3BD84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5842" y="4380038"/>
            <a:ext cx="10649984" cy="452898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531" y="2091686"/>
            <a:ext cx="11734799" cy="1632176"/>
          </a:xfrm>
        </p:spPr>
        <p:txBody>
          <a:bodyPr>
            <a:normAutofit fontScale="775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Maps a field to a database column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Attributes: name, unique, nullable, length, precision, scale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Example: @Column(name = ‘</a:t>
            </a:r>
            <a:r>
              <a:rPr lang="en-US" dirty="0" err="1">
                <a:latin typeface="Consolas" panose="020B0609020204030204" pitchFamily="49" charset="0"/>
              </a:rPr>
              <a:t>patientId</a:t>
            </a:r>
            <a:r>
              <a:rPr dirty="0">
                <a:latin typeface="Consolas" panose="020B0609020204030204" pitchFamily="49" charset="0"/>
              </a:rPr>
              <a:t>'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42730" y="1004816"/>
            <a:ext cx="7489429" cy="943253"/>
          </a:xfrm>
        </p:spPr>
        <p:txBody>
          <a:bodyPr/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Column Annot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2AE8C26-6676-4E0E-9D05-1C18BBEBB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531" y="4401125"/>
            <a:ext cx="12016411" cy="432402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">
            <a:extLst>
              <a:ext uri="{FF2B5EF4-FFF2-40B4-BE49-F238E27FC236}">
                <a16:creationId xmlns:a16="http://schemas.microsoft.com/office/drawing/2014/main" id="{7C51371D-452C-43A4-BFF1-2A96BF6247E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18554" y="1665625"/>
            <a:ext cx="9585756" cy="34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@CreatedDate: Automatically stores the timestamp of when the entity is created. This field is populated when the entity is persisted for the first time.</a:t>
            </a:r>
            <a:br>
              <a:rPr kumimoji="0" lang="en-US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endParaRPr kumimoji="0" lang="en-US" altLang="en-US" sz="2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@LastModifiedDate: Automatically stores the timestamp of when the entity is last modified. This is updated every time the entity is updated.</a:t>
            </a:r>
            <a:br>
              <a:rPr kumimoji="0" lang="en-US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</a:br>
            <a:endParaRPr kumimoji="0" lang="en-US" altLang="en-US" sz="2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@Temporal(TemporalType.TIMESTAMP): Used to indicate that the date should be stored with both the date and time. This is essential for </a:t>
            </a:r>
            <a:r>
              <a:rPr kumimoji="0" lang="en-US" altLang="en-US" sz="20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LocalDateTime</a:t>
            </a:r>
            <a:r>
              <a:rPr kumimoji="0" lang="en-US" altLang="en-US" sz="2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. 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0940B05D-E67C-4ED8-A259-C0991F2F70B9}"/>
              </a:ext>
            </a:extLst>
          </p:cNvPr>
          <p:cNvSpPr txBox="1">
            <a:spLocks/>
          </p:cNvSpPr>
          <p:nvPr/>
        </p:nvSpPr>
        <p:spPr>
          <a:xfrm>
            <a:off x="1018554" y="603534"/>
            <a:ext cx="8125445" cy="1389039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rmAutofit fontScale="75000" lnSpcReduction="20000"/>
          </a:bodyPr>
          <a:lstStyle>
            <a:lvl1pPr lvl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ts val="4000"/>
              <a:buNone/>
              <a:defRPr sz="4600" kern="12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2pPr>
            <a:lvl3pPr lvl="2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3pPr>
            <a:lvl4pPr lvl="3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4pPr>
            <a:lvl5pPr lvl="4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5pPr>
            <a:lvl6pPr lvl="5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6pPr>
            <a:lvl7pPr lvl="6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7pPr>
            <a:lvl8pPr lvl="7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8pPr>
            <a:lvl9pPr lvl="8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9pPr>
          </a:lstStyle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lang="en-IN" dirty="0">
                <a:solidFill>
                  <a:srgbClr val="2C3E50"/>
                </a:solidFill>
                <a:latin typeface="Consolas" panose="020B0609020204030204" pitchFamily="49" charset="0"/>
              </a:rPr>
              <a:t>@CreatedDate,  @LastModifiedDate and @Temporal Annotation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5E154D9-8449-4681-89E1-E74ADC00D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1288" y="5452881"/>
            <a:ext cx="9980294" cy="361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1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>
            <a:extLst>
              <a:ext uri="{FF2B5EF4-FFF2-40B4-BE49-F238E27FC236}">
                <a16:creationId xmlns:a16="http://schemas.microsoft.com/office/drawing/2014/main" id="{0940B05D-E67C-4ED8-A259-C0991F2F70B9}"/>
              </a:ext>
            </a:extLst>
          </p:cNvPr>
          <p:cNvSpPr txBox="1">
            <a:spLocks/>
          </p:cNvSpPr>
          <p:nvPr/>
        </p:nvSpPr>
        <p:spPr>
          <a:xfrm>
            <a:off x="1018554" y="603534"/>
            <a:ext cx="9781968" cy="1389039"/>
          </a:xfrm>
          <a:prstGeom prst="rect">
            <a:avLst/>
          </a:prstGeom>
        </p:spPr>
        <p:txBody>
          <a:bodyPr spcFirstLastPara="1" vert="horz" wrap="square" lIns="0" tIns="91425" rIns="91425" bIns="91425" rtlCol="0" anchor="t" anchorCtr="0">
            <a:normAutofit fontScale="90000" lnSpcReduction="10000"/>
          </a:bodyPr>
          <a:lstStyle>
            <a:lvl1pPr lvl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ts val="4000"/>
              <a:buNone/>
              <a:defRPr sz="4600" kern="12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2pPr>
            <a:lvl3pPr lvl="2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3pPr>
            <a:lvl4pPr lvl="3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4pPr>
            <a:lvl5pPr lvl="4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5pPr>
            <a:lvl6pPr lvl="5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6pPr>
            <a:lvl7pPr lvl="6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7pPr>
            <a:lvl8pPr lvl="7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8pPr>
            <a:lvl9pPr lvl="8" rtl="0" eaLnBrk="1" hangingPunct="1">
              <a:spcBef>
                <a:spcPts val="0"/>
              </a:spcBef>
              <a:spcAft>
                <a:spcPts val="0"/>
              </a:spcAft>
              <a:buSzPts val="5300"/>
              <a:buNone/>
              <a:defRPr sz="5300">
                <a:solidFill>
                  <a:schemeClr val="tx2"/>
                </a:solidFill>
              </a:defRPr>
            </a:lvl9pPr>
          </a:lstStyle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lang="en-IN" dirty="0">
                <a:solidFill>
                  <a:srgbClr val="2C3E50"/>
                </a:solidFill>
                <a:latin typeface="Consolas" panose="020B0609020204030204" pitchFamily="49" charset="0"/>
              </a:rPr>
              <a:t>@OneToMany, @ManyToOne, @OneToOne annotations: </a:t>
            </a: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DC6878A2-52E1-46A4-A4E0-601108DBFF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2190" y="1494130"/>
            <a:ext cx="10677775" cy="2492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5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defTabSz="914400" eaLnBrk="0" fontAlgn="base" hangingPunct="0">
              <a:spcAft>
                <a:spcPct val="0"/>
              </a:spcAft>
            </a:pPr>
            <a:endParaRPr lang="en-US" altLang="en-US" sz="3600" dirty="0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@OneToMany: One parent to many childre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24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@ManyToOne: Many children to one paren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@OneToOne: One entity associated with one other entity.</a:t>
            </a:r>
            <a:r>
              <a:rPr kumimoji="0" lang="en-US" altLang="en-US" sz="4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95127ED9-5194-4EAD-B3BF-FE0F7D30B8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26481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F30E226-C1D3-4463-9D6F-DBB976CC20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3920" y="4424441"/>
            <a:ext cx="9874313" cy="480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5574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3304" y="2157757"/>
            <a:ext cx="9548191" cy="1208106"/>
          </a:xfrm>
        </p:spPr>
        <p:txBody>
          <a:bodyPr>
            <a:normAutofit fontScale="77500" lnSpcReduction="20000"/>
          </a:bodyPr>
          <a:lstStyle/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Sorts related collections based on a property.</a:t>
            </a: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Example: @OrderBy('publicationYear DESC'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93304" y="1137340"/>
            <a:ext cx="7489429" cy="1102278"/>
          </a:xfrm>
        </p:spPr>
        <p:txBody>
          <a:bodyPr/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OrderBy Annot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106CD6E-BFD4-4387-8B02-E60137C883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2451" y="4664713"/>
            <a:ext cx="11991949" cy="2733578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0143" y="1682154"/>
            <a:ext cx="10162907" cy="2043685"/>
          </a:xfrm>
        </p:spPr>
        <p:txBody>
          <a:bodyPr>
            <a:normAutofit/>
          </a:bodyPr>
          <a:lstStyle/>
          <a:p>
            <a:pPr>
              <a:defRPr sz="3600">
                <a:latin typeface="Calibri"/>
              </a:defRPr>
            </a:pPr>
            <a:r>
              <a:rPr lang="en-US" dirty="0">
                <a:latin typeface="Consolas" panose="020B0609020204030204" pitchFamily="49" charset="0"/>
              </a:rPr>
              <a:t>Denotes as an Version field.</a:t>
            </a:r>
            <a:endParaRPr dirty="0">
              <a:latin typeface="Consolas" panose="020B0609020204030204" pitchFamily="49" charset="0"/>
            </a:endParaRPr>
          </a:p>
          <a:p>
            <a:pPr>
              <a:defRPr sz="3600"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Tracks changes and prevents concurrent updat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9075" y="571452"/>
            <a:ext cx="7529186" cy="888858"/>
          </a:xfrm>
        </p:spPr>
        <p:txBody>
          <a:bodyPr/>
          <a:lstStyle/>
          <a:p>
            <a:pPr>
              <a:defRPr sz="4600">
                <a:solidFill>
                  <a:srgbClr val="2C3E50"/>
                </a:solidFill>
                <a:latin typeface="Calibri"/>
              </a:defRPr>
            </a:pPr>
            <a:r>
              <a:rPr dirty="0">
                <a:latin typeface="Consolas" panose="020B0609020204030204" pitchFamily="49" charset="0"/>
              </a:rPr>
              <a:t>@Version Annot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83D7A9D-D3E4-40E3-B090-E2CDB76DAB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143" y="4455984"/>
            <a:ext cx="13056172" cy="259359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094</TotalTime>
  <Words>380</Words>
  <Application>Microsoft Office PowerPoint</Application>
  <PresentationFormat>Custom</PresentationFormat>
  <Paragraphs>4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Calibri</vt:lpstr>
      <vt:lpstr>Wingdings 3</vt:lpstr>
      <vt:lpstr>Roboto Light</vt:lpstr>
      <vt:lpstr>Arial</vt:lpstr>
      <vt:lpstr>Raleway</vt:lpstr>
      <vt:lpstr>Consolas</vt:lpstr>
      <vt:lpstr>Trebuchet MS</vt:lpstr>
      <vt:lpstr>Facet</vt:lpstr>
      <vt:lpstr>think-cell Slide</vt:lpstr>
      <vt:lpstr>Entity and JPA Annotations Overview</vt:lpstr>
      <vt:lpstr>@Entity Annotation</vt:lpstr>
      <vt:lpstr>@Table Annotation</vt:lpstr>
      <vt:lpstr>@Id and @GeneratedValue Annotations</vt:lpstr>
      <vt:lpstr>@Column Annotation</vt:lpstr>
      <vt:lpstr>@CreatedDate: Automatically stores the timestamp of when the entity is created. This field is populated when the entity is persisted for the first time.  @LastModifiedDate: Automatically stores the timestamp of when the entity is last modified. This is updated every time the entity is updated.  @Temporal(TemporalType.TIMESTAMP): Used to indicate that the date should be stored with both the date and time. This is essential for LocalDateTime. </vt:lpstr>
      <vt:lpstr>PowerPoint Presentation</vt:lpstr>
      <vt:lpstr>@OrderBy Annotation</vt:lpstr>
      <vt:lpstr>@Version Annotation</vt:lpstr>
      <vt:lpstr>@Transient Annotation</vt:lpstr>
      <vt:lpstr>@Lob Anno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RAJNISH J</cp:lastModifiedBy>
  <cp:revision>75</cp:revision>
  <dcterms:modified xsi:type="dcterms:W3CDTF">2024-10-04T07:34:43Z</dcterms:modified>
</cp:coreProperties>
</file>